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906000" cy="6858000" type="A4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8" d="100"/>
          <a:sy n="68" d="100"/>
        </p:scale>
        <p:origin x="58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48E6C1-D911-4F6E-B0E4-035E2076E4D0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3B3FF-02B0-47C6-B196-E5AED513D02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2819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6329">
              <a:defRPr/>
            </a:pPr>
            <a:fld id="{D09F5C6A-B8FB-4F29-BDBC-4B21B0EFE666}" type="slidenum">
              <a:rPr lang="ja-JP" altLang="en-US">
                <a:solidFill>
                  <a:prstClr val="black"/>
                </a:solidFill>
                <a:latin typeface="Calibri"/>
                <a:ea typeface="ＭＳ Ｐゴシック" panose="020B0600070205080204" pitchFamily="50" charset="-128"/>
              </a:rPr>
              <a:pPr defTabSz="946329">
                <a:defRPr/>
              </a:pPr>
              <a:t>3</a:t>
            </a:fld>
            <a:endParaRPr lang="ja-JP" altLang="en-US" dirty="0">
              <a:solidFill>
                <a:prstClr val="black"/>
              </a:solidFill>
              <a:latin typeface="Calibri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03138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25699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95245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25329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6477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74920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15712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9127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38961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97083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5773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052658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802308-1595-4FC3-AC47-6FA94F502A7C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45B019-0A87-4298-9BB6-4AD101BE0A0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4762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67" y="147085"/>
            <a:ext cx="648924" cy="430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69" name="テキスト ボックス 430" hidden="1"/>
          <p:cNvSpPr txBox="1">
            <a:spLocks noChangeArrowheads="1"/>
          </p:cNvSpPr>
          <p:nvPr/>
        </p:nvSpPr>
        <p:spPr bwMode="auto">
          <a:xfrm>
            <a:off x="5332903" y="2861176"/>
            <a:ext cx="3809287" cy="378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defTabSz="914104">
              <a:spcBef>
                <a:spcPct val="0"/>
              </a:spcBef>
              <a:buNone/>
            </a:pPr>
            <a:r>
              <a:rPr lang="ja-JP" altLang="en-US" sz="931" u="sng" kern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各メニューを組み合わせて、</a:t>
            </a:r>
            <a:r>
              <a:rPr lang="ja-JP" altLang="en-US" sz="931" u="sng" kern="0">
                <a:latin typeface="メイリオ" panose="020B0604030504040204" pitchFamily="50" charset="-128"/>
                <a:ea typeface="メイリオ" panose="020B0604030504040204" pitchFamily="50" charset="-128"/>
              </a:rPr>
              <a:t>地域特性に応じた</a:t>
            </a:r>
            <a:r>
              <a:rPr lang="ja-JP" altLang="en-US" sz="931" u="sng" kern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廃棄物処理システム</a:t>
            </a:r>
            <a:endParaRPr lang="en-US" altLang="ja-JP" sz="931" u="sng" kern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defTabSz="914104">
              <a:spcBef>
                <a:spcPct val="0"/>
              </a:spcBef>
              <a:buNone/>
            </a:pPr>
            <a:r>
              <a:rPr lang="ja-JP" altLang="en-US" sz="931" u="sng" kern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低炭素ガイドライン</a:t>
            </a:r>
            <a:r>
              <a:rPr lang="ja-JP" altLang="en-US" sz="931" u="sng" kern="0">
                <a:latin typeface="メイリオ" panose="020B0604030504040204" pitchFamily="50" charset="-128"/>
                <a:ea typeface="メイリオ" panose="020B0604030504040204" pitchFamily="50" charset="-128"/>
              </a:rPr>
              <a:t>を作成</a:t>
            </a:r>
            <a:endParaRPr lang="ja-JP" altLang="en-US" sz="931" u="sng" kern="0"/>
          </a:p>
        </p:txBody>
      </p:sp>
      <p:sp>
        <p:nvSpPr>
          <p:cNvPr id="46" name="正方形/長方形 2"/>
          <p:cNvSpPr>
            <a:spLocks noChangeArrowheads="1"/>
          </p:cNvSpPr>
          <p:nvPr/>
        </p:nvSpPr>
        <p:spPr bwMode="auto">
          <a:xfrm>
            <a:off x="187267" y="1511507"/>
            <a:ext cx="7639328" cy="46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defTabSz="785923" eaLnBrk="1" hangingPunct="1">
              <a:spcBef>
                <a:spcPct val="0"/>
              </a:spcBef>
              <a:spcAft>
                <a:spcPts val="259"/>
              </a:spcAft>
              <a:buClr>
                <a:srgbClr val="6F6F6F"/>
              </a:buClr>
              <a:buNone/>
              <a:defRPr/>
            </a:pPr>
            <a:r>
              <a:rPr lang="en-US" altLang="ja-JP" sz="2399" b="1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2399" b="1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導入拡大により</a:t>
            </a:r>
            <a:r>
              <a:rPr lang="en-US" altLang="ja-JP" sz="2399" b="1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O2</a:t>
            </a:r>
            <a:r>
              <a:rPr lang="ja-JP" altLang="en-US" sz="2399" b="1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大幅削減</a:t>
            </a:r>
            <a:endParaRPr lang="en-US" altLang="ja-JP" sz="2399" b="1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77"/>
          <a:stretch>
            <a:fillRect/>
          </a:stretch>
        </p:blipFill>
        <p:spPr bwMode="auto">
          <a:xfrm>
            <a:off x="7746856" y="4652750"/>
            <a:ext cx="1525240" cy="1394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グループ化 2"/>
          <p:cNvGrpSpPr/>
          <p:nvPr/>
        </p:nvGrpSpPr>
        <p:grpSpPr>
          <a:xfrm>
            <a:off x="136584" y="5300612"/>
            <a:ext cx="2441701" cy="1006203"/>
            <a:chOff x="375110" y="5501077"/>
            <a:chExt cx="2442485" cy="1006526"/>
          </a:xfrm>
        </p:grpSpPr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594" y="5501077"/>
              <a:ext cx="588112" cy="3599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" name="Picture 3" descr="C:\Users\MINEGI02\AppData\Local\Microsoft\Windows\Temporary Internet Files\Content.IE5\CICUAFS2\lgi01a201402180200[1]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110" y="6203809"/>
              <a:ext cx="419296" cy="3037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4" descr="C:\Users\MINEGI02\AppData\Local\Microsoft\Windows\Temporary Internet Files\Content.IE5\P9KRCP8N\gatag-00008410[1]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594" y="6203809"/>
              <a:ext cx="430229" cy="2616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5" descr="C:\Users\MINEGI02\AppData\Local\Microsoft\Windows\Temporary Internet Files\Content.IE5\FIMQ6E53\lgi01c201403240000[1]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206" y="6136706"/>
              <a:ext cx="486652" cy="3373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上矢印吹き出し 163"/>
            <p:cNvSpPr/>
            <p:nvPr/>
          </p:nvSpPr>
          <p:spPr bwMode="auto">
            <a:xfrm rot="10800000">
              <a:off x="379649" y="5889527"/>
              <a:ext cx="2432630" cy="313847"/>
            </a:xfrm>
            <a:prstGeom prst="upArrowCallout">
              <a:avLst>
                <a:gd name="adj1" fmla="val 205762"/>
                <a:gd name="adj2" fmla="val 200014"/>
                <a:gd name="adj3" fmla="val 22127"/>
                <a:gd name="adj4" fmla="val 57503"/>
              </a:avLst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914104">
                <a:defRPr/>
              </a:pPr>
              <a:endParaRPr kumimoji="0" lang="ja-JP" altLang="en-US" sz="1600" kern="0">
                <a:solidFill>
                  <a:sysClr val="windowText" lastClr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5" name="正方形/長方形 3"/>
            <p:cNvSpPr>
              <a:spLocks noChangeArrowheads="1"/>
            </p:cNvSpPr>
            <p:nvPr/>
          </p:nvSpPr>
          <p:spPr bwMode="auto">
            <a:xfrm>
              <a:off x="375117" y="5844321"/>
              <a:ext cx="2442478" cy="338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32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8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24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  <a:cs typeface="メイリオ" panose="020B0604030504040204" pitchFamily="50" charset="-128"/>
                </a:defRPr>
              </a:lvl9pPr>
            </a:lstStyle>
            <a:p>
              <a:pPr defTabSz="914104">
                <a:spcBef>
                  <a:spcPct val="0"/>
                </a:spcBef>
                <a:buNone/>
              </a:pPr>
              <a:r>
                <a:rPr lang="ja-JP" altLang="en-US" sz="1600" b="1" kern="0" dirty="0">
                  <a:latin typeface="メイリオ" panose="020B0604030504040204" pitchFamily="50" charset="-128"/>
                </a:rPr>
                <a:t>省内各種補助事業で推奨</a:t>
              </a:r>
            </a:p>
          </p:txBody>
        </p:sp>
      </p:grpSp>
      <p:grpSp>
        <p:nvGrpSpPr>
          <p:cNvPr id="37" name="グループ化 2054"/>
          <p:cNvGrpSpPr>
            <a:grpSpLocks/>
          </p:cNvGrpSpPr>
          <p:nvPr/>
        </p:nvGrpSpPr>
        <p:grpSpPr bwMode="auto">
          <a:xfrm>
            <a:off x="4233158" y="5876495"/>
            <a:ext cx="1827419" cy="883327"/>
            <a:chOff x="2058146" y="5819209"/>
            <a:chExt cx="1166909" cy="1037252"/>
          </a:xfrm>
        </p:grpSpPr>
        <p:pic>
          <p:nvPicPr>
            <p:cNvPr id="40" name="Picture 12" descr="C:\Users\MINEGI02\AppData\Local\Microsoft\Windows\Temporary Internet Files\Content.IE5\P9KRCP8N\internet-OT[1]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8146" y="5819209"/>
              <a:ext cx="1166909" cy="1037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53" descr="D:\Temporary Internet Files\Temporary Internet Files\Content.IE5\OHA3327H\lgi01e201403240200[1]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64713" y="6090718"/>
              <a:ext cx="553774" cy="475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5" name="テキスト ボックス 44"/>
          <p:cNvSpPr txBox="1"/>
          <p:nvPr/>
        </p:nvSpPr>
        <p:spPr>
          <a:xfrm>
            <a:off x="2786183" y="3437946"/>
            <a:ext cx="4865434" cy="39998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defTabSz="914104">
              <a:defRPr/>
            </a:pPr>
            <a:r>
              <a:rPr kumimoji="0" lang="en-US" altLang="ja-JP" sz="1999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1999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リストの更新・拡充・情報発信</a:t>
            </a:r>
            <a:endParaRPr kumimoji="0" lang="ja-JP" altLang="en-US" sz="1999" kern="0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5816827" y="6515061"/>
            <a:ext cx="2781531" cy="36920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104">
              <a:defRPr/>
            </a:pPr>
            <a:r>
              <a:rPr kumimoji="0" lang="ja-JP" altLang="en-US" sz="1799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kumimoji="0" lang="en-US" altLang="ja-JP" sz="1799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1799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導入実証事業</a:t>
            </a:r>
            <a:endParaRPr kumimoji="0" lang="ja-JP" altLang="en-US" sz="1799" kern="0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9" name="テキスト ボックス 169"/>
          <p:cNvSpPr txBox="1">
            <a:spLocks noChangeArrowheads="1"/>
          </p:cNvSpPr>
          <p:nvPr/>
        </p:nvSpPr>
        <p:spPr bwMode="auto">
          <a:xfrm>
            <a:off x="130016" y="6380381"/>
            <a:ext cx="3023367" cy="369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9pPr>
          </a:lstStyle>
          <a:p>
            <a:pPr defTabSz="914104" eaLnBrk="1" hangingPunct="1">
              <a:spcBef>
                <a:spcPct val="0"/>
              </a:spcBef>
              <a:buNone/>
              <a:defRPr/>
            </a:pPr>
            <a:r>
              <a:rPr lang="en-US" altLang="ja-JP" sz="1799" b="1" kern="0" dirty="0">
                <a:solidFill>
                  <a:srgbClr val="FF0000"/>
                </a:solidFill>
                <a:latin typeface="メイリオ" panose="020B0604030504040204" pitchFamily="50" charset="-128"/>
              </a:rPr>
              <a:t>L2-Tech</a:t>
            </a:r>
            <a:r>
              <a:rPr lang="ja-JP" altLang="en-US" sz="1799" b="1" kern="0" dirty="0">
                <a:solidFill>
                  <a:srgbClr val="FF0000"/>
                </a:solidFill>
                <a:latin typeface="メイリオ" panose="020B0604030504040204" pitchFamily="50" charset="-128"/>
              </a:rPr>
              <a:t>活用ガイドの作成</a:t>
            </a:r>
          </a:p>
        </p:txBody>
      </p:sp>
      <p:pic>
        <p:nvPicPr>
          <p:cNvPr id="50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7686" y="3844885"/>
            <a:ext cx="5252731" cy="1455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円/楕円 170"/>
          <p:cNvSpPr/>
          <p:nvPr/>
        </p:nvSpPr>
        <p:spPr>
          <a:xfrm>
            <a:off x="4089182" y="5228623"/>
            <a:ext cx="2195532" cy="354108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04">
              <a:defRPr/>
            </a:pPr>
            <a:endParaRPr kumimoji="0" lang="ja-JP" altLang="en-US" sz="1600" kern="0">
              <a:solidFill>
                <a:sysClr val="windowText" lastClr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5" name="テキスト ボックス 54"/>
          <p:cNvSpPr txBox="1"/>
          <p:nvPr/>
        </p:nvSpPr>
        <p:spPr>
          <a:xfrm>
            <a:off x="4493295" y="5250103"/>
            <a:ext cx="1673856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104">
              <a:defRPr/>
            </a:pPr>
            <a:r>
              <a:rPr kumimoji="0" lang="en-US" altLang="ja-JP" sz="1600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1600" b="1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リスト</a:t>
            </a:r>
            <a:endParaRPr kumimoji="0" lang="ja-JP" altLang="en-US" sz="1600" kern="0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4" name="上下矢印 2062"/>
          <p:cNvSpPr/>
          <p:nvPr/>
        </p:nvSpPr>
        <p:spPr>
          <a:xfrm rot="16364538">
            <a:off x="6890022" y="4673946"/>
            <a:ext cx="416099" cy="1450417"/>
          </a:xfrm>
          <a:prstGeom prst="upDownArrow">
            <a:avLst>
              <a:gd name="adj1" fmla="val 50000"/>
              <a:gd name="adj2" fmla="val 30372"/>
            </a:avLst>
          </a:prstGeom>
          <a:solidFill>
            <a:srgbClr val="FFC0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defTabSz="914104">
              <a:defRPr/>
            </a:pPr>
            <a:endParaRPr kumimoji="0" lang="ja-JP" altLang="en-US" sz="1600" kern="0">
              <a:solidFill>
                <a:sysClr val="windowText" lastClr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6" name="上下矢印 173"/>
          <p:cNvSpPr/>
          <p:nvPr/>
        </p:nvSpPr>
        <p:spPr>
          <a:xfrm>
            <a:off x="4955425" y="5619137"/>
            <a:ext cx="573461" cy="257357"/>
          </a:xfrm>
          <a:prstGeom prst="upDownArrow">
            <a:avLst>
              <a:gd name="adj1" fmla="val 50000"/>
              <a:gd name="adj2" fmla="val 30372"/>
            </a:avLst>
          </a:prstGeom>
          <a:solidFill>
            <a:srgbClr val="FFC0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defTabSz="914104">
              <a:defRPr/>
            </a:pPr>
            <a:endParaRPr kumimoji="0" lang="ja-JP" altLang="en-US" sz="1600" kern="0">
              <a:solidFill>
                <a:sysClr val="windowText" lastClr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7" name="テキスト ボックス 1"/>
          <p:cNvSpPr txBox="1">
            <a:spLocks noChangeArrowheads="1"/>
          </p:cNvSpPr>
          <p:nvPr/>
        </p:nvSpPr>
        <p:spPr bwMode="auto">
          <a:xfrm>
            <a:off x="50840" y="3860912"/>
            <a:ext cx="281460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9pPr>
          </a:lstStyle>
          <a:p>
            <a:pPr defTabSz="914104" eaLnBrk="1" hangingPunct="1">
              <a:defRPr/>
            </a:pP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稼働実績の蓄積</a:t>
            </a:r>
            <a:endParaRPr lang="en-US" altLang="ja-JP" sz="1600" b="1" kern="0" dirty="0">
              <a:solidFill>
                <a:srgbClr val="002060"/>
              </a:solidFill>
              <a:latin typeface="メイリオ" panose="020B0604030504040204" pitchFamily="50" charset="-128"/>
            </a:endParaRPr>
          </a:p>
          <a:p>
            <a:pPr defTabSz="914104" eaLnBrk="1" hangingPunct="1">
              <a:defRPr/>
            </a:pP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：</a:t>
            </a:r>
            <a:r>
              <a:rPr lang="en-US" altLang="ja-JP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 L2-Tech</a:t>
            </a: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設備導入効果と計測、算出方法、</a:t>
            </a:r>
            <a:r>
              <a:rPr lang="en-US" altLang="ja-JP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L2-Tech</a:t>
            </a: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設備の安定稼働データ等　　</a:t>
            </a:r>
            <a:r>
              <a:rPr lang="ja-JP" altLang="en-US" sz="1600" kern="0" dirty="0">
                <a:latin typeface="メイリオ" panose="020B0604030504040204" pitchFamily="50" charset="-128"/>
              </a:rPr>
              <a:t>　　　</a:t>
            </a:r>
            <a:endParaRPr lang="en-US" altLang="ja-JP" sz="1600" kern="0" dirty="0">
              <a:latin typeface="メイリオ" panose="020B0604030504040204" pitchFamily="50" charset="-128"/>
            </a:endParaRPr>
          </a:p>
        </p:txBody>
      </p:sp>
      <p:sp>
        <p:nvSpPr>
          <p:cNvPr id="68" name="テキスト ボックス 1"/>
          <p:cNvSpPr txBox="1">
            <a:spLocks noChangeArrowheads="1"/>
          </p:cNvSpPr>
          <p:nvPr/>
        </p:nvSpPr>
        <p:spPr bwMode="auto">
          <a:xfrm>
            <a:off x="7400495" y="5765613"/>
            <a:ext cx="244748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9pPr>
          </a:lstStyle>
          <a:p>
            <a:pPr defTabSz="914104" eaLnBrk="1" hangingPunct="1">
              <a:defRPr/>
            </a:pPr>
            <a:r>
              <a:rPr lang="en-US" altLang="ja-JP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L2-Tech</a:t>
            </a: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の優良事例創出による大幅な</a:t>
            </a:r>
            <a:r>
              <a:rPr lang="en-US" altLang="ja-JP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CO2</a:t>
            </a: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削減の誘導</a:t>
            </a:r>
            <a:endParaRPr lang="en-US" altLang="ja-JP" sz="1600" kern="0" dirty="0">
              <a:solidFill>
                <a:srgbClr val="002060"/>
              </a:solidFill>
              <a:latin typeface="メイリオ" panose="020B0604030504040204" pitchFamily="50" charset="-128"/>
            </a:endParaRPr>
          </a:p>
        </p:txBody>
      </p:sp>
      <p:sp>
        <p:nvSpPr>
          <p:cNvPr id="69" name="テキスト ボックス 1"/>
          <p:cNvSpPr txBox="1">
            <a:spLocks noChangeArrowheads="1"/>
          </p:cNvSpPr>
          <p:nvPr/>
        </p:nvSpPr>
        <p:spPr bwMode="auto">
          <a:xfrm>
            <a:off x="2361545" y="5588554"/>
            <a:ext cx="204799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9pPr>
          </a:lstStyle>
          <a:p>
            <a:pPr algn="r" defTabSz="914104" eaLnBrk="1" hangingPunct="1">
              <a:defRPr/>
            </a:pPr>
            <a:r>
              <a:rPr lang="en-US" altLang="ja-JP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L2-Tech</a:t>
            </a:r>
          </a:p>
          <a:p>
            <a:pPr algn="r" defTabSz="914104" eaLnBrk="1" hangingPunct="1">
              <a:defRPr/>
            </a:pP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認証製品の普及拡大</a:t>
            </a:r>
            <a:endParaRPr lang="en-US" altLang="ja-JP" sz="1600" b="1" kern="0" dirty="0">
              <a:solidFill>
                <a:srgbClr val="002060"/>
              </a:solidFill>
              <a:latin typeface="メイリオ" panose="020B0604030504040204" pitchFamily="50" charset="-128"/>
            </a:endParaRPr>
          </a:p>
        </p:txBody>
      </p:sp>
      <p:sp>
        <p:nvSpPr>
          <p:cNvPr id="70" name="テキスト ボックス 1"/>
          <p:cNvSpPr txBox="1">
            <a:spLocks noChangeArrowheads="1"/>
          </p:cNvSpPr>
          <p:nvPr/>
        </p:nvSpPr>
        <p:spPr bwMode="auto">
          <a:xfrm>
            <a:off x="5816819" y="5516570"/>
            <a:ext cx="187160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9pPr>
          </a:lstStyle>
          <a:p>
            <a:pPr defTabSz="914104" eaLnBrk="1" hangingPunct="1">
              <a:defRPr/>
            </a:pP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革新的な低炭素技術の発掘</a:t>
            </a:r>
            <a:endParaRPr lang="en-US" altLang="ja-JP" sz="1600" b="1" kern="0" dirty="0">
              <a:solidFill>
                <a:srgbClr val="002060"/>
              </a:solidFill>
              <a:latin typeface="メイリオ" panose="020B0604030504040204" pitchFamily="50" charset="-128"/>
            </a:endParaRPr>
          </a:p>
        </p:txBody>
      </p:sp>
      <p:sp>
        <p:nvSpPr>
          <p:cNvPr id="72" name="テキスト ボックス 1"/>
          <p:cNvSpPr txBox="1">
            <a:spLocks noChangeArrowheads="1"/>
          </p:cNvSpPr>
          <p:nvPr/>
        </p:nvSpPr>
        <p:spPr bwMode="auto">
          <a:xfrm>
            <a:off x="7704632" y="3617676"/>
            <a:ext cx="211905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itchFamily="18" charset="0"/>
                <a:ea typeface="メイリオ" pitchFamily="50" charset="-128"/>
                <a:cs typeface="メイリオ" pitchFamily="50" charset="-128"/>
              </a:defRPr>
            </a:lvl9pPr>
          </a:lstStyle>
          <a:p>
            <a:pPr defTabSz="914104" eaLnBrk="1" hangingPunct="1">
              <a:defRPr/>
            </a:pP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導入障壁の解消</a:t>
            </a:r>
            <a:endParaRPr lang="en-US" altLang="ja-JP" sz="1600" b="1" kern="0" dirty="0">
              <a:solidFill>
                <a:srgbClr val="002060"/>
              </a:solidFill>
              <a:latin typeface="メイリオ" panose="020B0604030504040204" pitchFamily="50" charset="-128"/>
            </a:endParaRPr>
          </a:p>
          <a:p>
            <a:pPr defTabSz="914104" eaLnBrk="1" hangingPunct="1">
              <a:defRPr/>
            </a:pP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：</a:t>
            </a:r>
            <a:r>
              <a:rPr lang="ja-JP" altLang="ja-JP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設備の入替え時に発生する業務停止期間とその影響</a:t>
            </a:r>
            <a:r>
              <a:rPr lang="ja-JP" altLang="en-US" sz="1600" b="1" kern="0" dirty="0">
                <a:solidFill>
                  <a:srgbClr val="002060"/>
                </a:solidFill>
                <a:latin typeface="メイリオ" panose="020B0604030504040204" pitchFamily="50" charset="-128"/>
              </a:rPr>
              <a:t>等のソリューション情報</a:t>
            </a:r>
            <a:endParaRPr lang="en-US" altLang="ja-JP" sz="1600" b="1" kern="0" dirty="0">
              <a:solidFill>
                <a:srgbClr val="002060"/>
              </a:solidFill>
              <a:latin typeface="メイリオ" panose="020B0604030504040204" pitchFamily="50" charset="-128"/>
            </a:endParaRPr>
          </a:p>
        </p:txBody>
      </p:sp>
      <p:sp>
        <p:nvSpPr>
          <p:cNvPr id="44" name="上下矢印 2062"/>
          <p:cNvSpPr/>
          <p:nvPr/>
        </p:nvSpPr>
        <p:spPr>
          <a:xfrm rot="15956287">
            <a:off x="3107578" y="4748419"/>
            <a:ext cx="416099" cy="1450417"/>
          </a:xfrm>
          <a:prstGeom prst="upDownArrow">
            <a:avLst>
              <a:gd name="adj1" fmla="val 50000"/>
              <a:gd name="adj2" fmla="val 30372"/>
            </a:avLst>
          </a:prstGeom>
          <a:solidFill>
            <a:srgbClr val="FFC0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defTabSz="914104">
              <a:defRPr/>
            </a:pPr>
            <a:endParaRPr kumimoji="0" lang="ja-JP" altLang="en-US" sz="1600" kern="0">
              <a:solidFill>
                <a:sysClr val="windowText" lastClr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1" name="正方形/長方形 6"/>
          <p:cNvSpPr>
            <a:spLocks noChangeArrowheads="1"/>
          </p:cNvSpPr>
          <p:nvPr/>
        </p:nvSpPr>
        <p:spPr bwMode="auto">
          <a:xfrm>
            <a:off x="853883" y="147092"/>
            <a:ext cx="7191516" cy="46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defTabSz="785923" eaLnBrk="1" hangingPunct="1">
              <a:spcBef>
                <a:spcPct val="0"/>
              </a:spcBef>
              <a:spcAft>
                <a:spcPts val="259"/>
              </a:spcAft>
              <a:buClr>
                <a:srgbClr val="6F6F6F"/>
              </a:buClr>
              <a:buNone/>
              <a:defRPr/>
            </a:pPr>
            <a:r>
              <a:rPr lang="en-US" altLang="zh-TW" sz="2399" b="1" kern="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zh-TW" altLang="en-US" sz="2399" b="1" kern="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先導的低炭素技術）導入拡大推進事業</a:t>
            </a:r>
            <a:endParaRPr lang="en-US" altLang="ja-JP" sz="2399" b="1" kern="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6" name="正方形/長方形 35"/>
          <p:cNvSpPr/>
          <p:nvPr/>
        </p:nvSpPr>
        <p:spPr>
          <a:xfrm>
            <a:off x="8336298" y="64389"/>
            <a:ext cx="1497535" cy="315491"/>
          </a:xfrm>
          <a:prstGeom prst="rect">
            <a:avLst/>
          </a:prstGeom>
          <a:gradFill>
            <a:gsLst>
              <a:gs pos="0">
                <a:srgbClr val="BCBCBC"/>
              </a:gs>
              <a:gs pos="35000">
                <a:srgbClr val="D0D0D0"/>
              </a:gs>
              <a:gs pos="100000">
                <a:srgbClr val="EDEDED"/>
              </a:gs>
            </a:gsLst>
            <a:lin ang="16200000" scaled="0"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844062">
              <a:defRPr/>
            </a:pPr>
            <a:r>
              <a:rPr kumimoji="0" lang="ja-JP" altLang="en-US" sz="17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補助・委託</a:t>
            </a:r>
          </a:p>
        </p:txBody>
      </p:sp>
      <p:sp>
        <p:nvSpPr>
          <p:cNvPr id="42" name="角丸四角形 3"/>
          <p:cNvSpPr/>
          <p:nvPr/>
        </p:nvSpPr>
        <p:spPr>
          <a:xfrm>
            <a:off x="136580" y="1920621"/>
            <a:ext cx="9687104" cy="1508380"/>
          </a:xfrm>
          <a:prstGeom prst="roundRect">
            <a:avLst>
              <a:gd name="adj" fmla="val 11444"/>
            </a:avLst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785903">
              <a:buClr>
                <a:srgbClr val="6F6F6F"/>
              </a:buClr>
              <a:defRPr/>
            </a:pPr>
            <a:r>
              <a:rPr kumimoji="0" lang="en-US" altLang="zh-TW" sz="2399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2399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情報が整ったプラットフォーム</a:t>
            </a:r>
            <a:r>
              <a:rPr kumimoji="0" lang="ja-JP" altLang="en-US" sz="2399" kern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構築。</a:t>
            </a:r>
            <a:r>
              <a:rPr kumimoji="0" lang="ja-JP" altLang="en-US" sz="2399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メーカー・ユーザー双方が利活用しやすい体制</a:t>
            </a:r>
            <a:r>
              <a:rPr kumimoji="0" lang="ja-JP" altLang="en-US" sz="2399" kern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構築。また</a:t>
            </a:r>
            <a:r>
              <a:rPr kumimoji="0" lang="ja-JP" altLang="en-US" sz="2399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黎明期の</a:t>
            </a:r>
            <a:r>
              <a:rPr kumimoji="0" lang="en-US" altLang="ja-JP" sz="2399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2399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対象として、導入実証</a:t>
            </a:r>
            <a:r>
              <a:rPr kumimoji="0" lang="ja-JP" altLang="en-US" sz="2399" kern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。稼動データを</a:t>
            </a:r>
            <a:r>
              <a:rPr kumimoji="0" lang="en-US" altLang="zh-TW" sz="2399" kern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2399" kern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プラットフォームに集約。</a:t>
            </a:r>
            <a:endParaRPr kumimoji="0" lang="en-US" altLang="ja-JP" sz="2399" kern="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2" name="正方形/長方形 51"/>
          <p:cNvSpPr/>
          <p:nvPr/>
        </p:nvSpPr>
        <p:spPr>
          <a:xfrm>
            <a:off x="851217" y="648205"/>
            <a:ext cx="1815488" cy="33922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104"/>
            <a:r>
              <a:rPr lang="ja-JP" altLang="en-US" sz="1799" b="1" kern="0" dirty="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施策番号：</a:t>
            </a:r>
            <a:r>
              <a:rPr kumimoji="0" lang="en-US" altLang="ja-JP" sz="1799" b="1" kern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8</a:t>
            </a:r>
            <a:endParaRPr lang="ja-JP" altLang="en-US" sz="1799" b="1" kern="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3" name="正方形/長方形 6"/>
          <p:cNvSpPr>
            <a:spLocks noChangeArrowheads="1"/>
          </p:cNvSpPr>
          <p:nvPr/>
        </p:nvSpPr>
        <p:spPr bwMode="auto">
          <a:xfrm>
            <a:off x="4233156" y="579484"/>
            <a:ext cx="5758795" cy="1238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defTabSz="843808" eaLnBrk="1" hangingPunct="1">
              <a:spcBef>
                <a:spcPct val="0"/>
              </a:spcBef>
              <a:buClr>
                <a:srgbClr val="6F6F6F"/>
              </a:buClr>
              <a:buNone/>
              <a:defRPr/>
            </a:pPr>
            <a:r>
              <a:rPr lang="zh-TW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平成</a:t>
            </a:r>
            <a:r>
              <a:rPr lang="en-US" altLang="zh-TW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0</a:t>
            </a:r>
            <a:r>
              <a:rPr lang="zh-TW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</a:t>
            </a:r>
            <a:r>
              <a:rPr lang="ja-JP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予算案</a:t>
            </a:r>
            <a:r>
              <a:rPr lang="en-US" altLang="ja-JP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.8</a:t>
            </a:r>
            <a:r>
              <a:rPr lang="ja-JP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円</a:t>
            </a:r>
            <a:r>
              <a:rPr lang="ja-JP" altLang="en-US" sz="12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平成</a:t>
            </a:r>
            <a:r>
              <a:rPr lang="en-US" altLang="ja-JP" sz="12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9</a:t>
            </a:r>
            <a:r>
              <a:rPr lang="ja-JP" altLang="en-US" sz="12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予算額</a:t>
            </a:r>
            <a:r>
              <a:rPr lang="en-US" altLang="ja-JP" sz="12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6.8</a:t>
            </a:r>
            <a:r>
              <a:rPr lang="ja-JP" altLang="en-US" sz="12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円）</a:t>
            </a:r>
            <a:endParaRPr lang="en-US" altLang="ja-JP" sz="1200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843808" eaLnBrk="1" hangingPunct="1">
              <a:spcBef>
                <a:spcPct val="0"/>
              </a:spcBef>
              <a:buNone/>
              <a:defRPr/>
            </a:pPr>
            <a:r>
              <a:rPr kumimoji="0" lang="zh-TW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実施期間：</a:t>
            </a:r>
            <a:r>
              <a:rPr lang="ja-JP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27</a:t>
            </a:r>
            <a:r>
              <a:rPr lang="ja-JP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～平成</a:t>
            </a:r>
            <a:r>
              <a:rPr lang="en-US" altLang="ja-JP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0</a:t>
            </a:r>
            <a:r>
              <a:rPr lang="ja-JP" altLang="en-US" sz="1999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kumimoji="0" lang="zh-TW" altLang="en-US" sz="1999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  <a:sym typeface="Wingdings" panose="05000000000000000000" pitchFamily="2" charset="2"/>
            </a:endParaRPr>
          </a:p>
          <a:p>
            <a:pPr defTabSz="914104" eaLnBrk="1" hangingPunct="1">
              <a:spcBef>
                <a:spcPct val="0"/>
              </a:spcBef>
              <a:buNone/>
            </a:pPr>
            <a:r>
              <a:rPr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担当課：</a:t>
            </a:r>
            <a:r>
              <a:rPr lang="zh-TW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地球局事業室技術</a:t>
            </a:r>
            <a:r>
              <a:rPr lang="en-US" altLang="zh-TW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 </a:t>
            </a:r>
            <a:r>
              <a:rPr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技）</a:t>
            </a:r>
            <a:r>
              <a:rPr lang="ja-JP" altLang="en-US" sz="1200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</a:t>
            </a:r>
            <a:r>
              <a:rPr lang="en-US" altLang="ja-JP" sz="1200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03-5521-8339</a:t>
            </a:r>
            <a:r>
              <a:rPr lang="ja-JP" altLang="en-US" sz="1200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） </a:t>
            </a:r>
            <a:r>
              <a:rPr lang="ja-JP" altLang="en-US" sz="12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endParaRPr lang="zh-TW" altLang="en-US" sz="1200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843808" eaLnBrk="1" hangingPunct="1"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endParaRPr lang="en-US" altLang="ja-JP" sz="1200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3" name="スライド番号プレースホルダー"/>
          <p:cNvSpPr>
            <a:spLocks noGrp="1"/>
          </p:cNvSpPr>
          <p:nvPr>
            <p:ph type="sldNum" sz="quarter" idx="12"/>
          </p:nvPr>
        </p:nvSpPr>
        <p:spPr>
          <a:xfrm>
            <a:off x="9221188" y="6523200"/>
            <a:ext cx="630000" cy="370800"/>
          </a:xfrm>
        </p:spPr>
        <p:txBody>
          <a:bodyPr/>
          <a:lstStyle/>
          <a:p>
            <a:pPr algn="ctr">
              <a:defRPr/>
            </a:pPr>
            <a:r>
              <a:rPr lang="en-US" altLang="ja-JP" sz="1800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</a:t>
            </a:r>
            <a:endParaRPr lang="ja-JP" altLang="en-US" sz="18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76902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角丸四角形 21"/>
          <p:cNvSpPr/>
          <p:nvPr/>
        </p:nvSpPr>
        <p:spPr>
          <a:xfrm>
            <a:off x="131147" y="1132090"/>
            <a:ext cx="9643305" cy="1453133"/>
          </a:xfrm>
          <a:prstGeom prst="roundRect">
            <a:avLst>
              <a:gd name="adj" fmla="val 11162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7931" tIns="0" rIns="0" bIns="0" anchor="ctr"/>
          <a:lstStyle/>
          <a:p>
            <a:pPr algn="ctr" defTabSz="913829">
              <a:defRPr/>
            </a:pPr>
            <a:r>
              <a:rPr kumimoji="0" lang="ja-JP" altLang="en-US" sz="3599" b="1" kern="0" dirty="0">
                <a:solidFill>
                  <a:srgbClr val="CCEC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　　　　　　　　　 </a:t>
            </a:r>
            <a:endParaRPr kumimoji="0" lang="en-US" altLang="ja-JP" sz="3599" b="1" kern="0" dirty="0">
              <a:solidFill>
                <a:srgbClr val="CCEC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8" name="正方形/長方形 27"/>
          <p:cNvSpPr/>
          <p:nvPr/>
        </p:nvSpPr>
        <p:spPr>
          <a:xfrm>
            <a:off x="212841" y="5764740"/>
            <a:ext cx="9393479" cy="953851"/>
          </a:xfrm>
          <a:prstGeom prst="rect">
            <a:avLst/>
          </a:prstGeom>
          <a:noFill/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913829">
              <a:defRPr/>
            </a:pPr>
            <a:r>
              <a:rPr kumimoji="0" lang="en-US" altLang="ja-JP" sz="2799" b="1" kern="0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2799" b="1" kern="0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開発・導入・普及を国内外で強力に推進</a:t>
            </a:r>
            <a:endParaRPr kumimoji="0" lang="en-US" altLang="ja-JP" sz="2799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 defTabSz="913829">
              <a:defRPr/>
            </a:pPr>
            <a:r>
              <a:rPr kumimoji="0" lang="ja-JP" altLang="en-US" sz="2799" b="1" kern="0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→情報整備の一環としてリストを作成する</a:t>
            </a:r>
            <a:endParaRPr kumimoji="0" lang="en-US" altLang="ja-JP" sz="2799" b="1" kern="0" dirty="0">
              <a:solidFill>
                <a:srgbClr val="00206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190788" y="509817"/>
            <a:ext cx="9524023" cy="46153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913829">
              <a:defRPr/>
            </a:pP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２</a:t>
            </a: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-Tech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エルツーテック）とは</a:t>
            </a:r>
          </a:p>
        </p:txBody>
      </p:sp>
      <p:sp>
        <p:nvSpPr>
          <p:cNvPr id="30" name="テキスト ボックス 52"/>
          <p:cNvSpPr txBox="1">
            <a:spLocks noChangeArrowheads="1"/>
          </p:cNvSpPr>
          <p:nvPr/>
        </p:nvSpPr>
        <p:spPr bwMode="auto">
          <a:xfrm>
            <a:off x="142597" y="1385274"/>
            <a:ext cx="9667625" cy="1199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9pPr>
          </a:lstStyle>
          <a:p>
            <a:pPr defTabSz="913829" eaLnBrk="1" hangingPunct="1"/>
            <a:r>
              <a:rPr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エネルギー消費量削減・</a:t>
            </a:r>
            <a:r>
              <a:rPr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O2</a:t>
            </a:r>
            <a:r>
              <a:rPr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排出削減のための先導的な要素技術または、それが適用された設備・機器等のうち、エネルギー起源</a:t>
            </a:r>
            <a:r>
              <a:rPr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CO</a:t>
            </a:r>
            <a:r>
              <a:rPr lang="ja-JP" altLang="en-US" sz="2399" kern="0" baseline="-25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２</a:t>
            </a:r>
            <a:r>
              <a:rPr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排出削減に最大の効果をもたらすもの</a:t>
            </a:r>
          </a:p>
        </p:txBody>
      </p:sp>
      <p:sp>
        <p:nvSpPr>
          <p:cNvPr id="31" name="テキスト ボックス 58"/>
          <p:cNvSpPr txBox="1">
            <a:spLocks noChangeArrowheads="1"/>
          </p:cNvSpPr>
          <p:nvPr/>
        </p:nvSpPr>
        <p:spPr bwMode="auto">
          <a:xfrm>
            <a:off x="5083715" y="535320"/>
            <a:ext cx="4709681" cy="399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9pPr>
          </a:lstStyle>
          <a:p>
            <a:pPr defTabSz="913829" eaLnBrk="1" hangingPunct="1"/>
            <a:r>
              <a:rPr lang="en-US" altLang="ja-JP" sz="1999" b="1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</a:t>
            </a:r>
            <a:r>
              <a:rPr lang="en-US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eading </a:t>
            </a:r>
            <a:r>
              <a:rPr lang="en-US" altLang="ja-JP" sz="1799" b="1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× </a:t>
            </a:r>
            <a:r>
              <a:rPr lang="en-US" altLang="ja-JP" sz="1999" b="1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</a:t>
            </a:r>
            <a:r>
              <a:rPr lang="en-US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ow-carbon </a:t>
            </a:r>
            <a:r>
              <a:rPr lang="en-US" altLang="ja-JP" sz="1999" b="1" u="sng" kern="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Tech</a:t>
            </a:r>
            <a:r>
              <a:rPr lang="en-US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nology</a:t>
            </a:r>
            <a:endParaRPr lang="ja-JP" altLang="en-US" sz="19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2" name="角丸四角形 31"/>
          <p:cNvSpPr/>
          <p:nvPr/>
        </p:nvSpPr>
        <p:spPr>
          <a:xfrm>
            <a:off x="280032" y="2962451"/>
            <a:ext cx="9317015" cy="2637027"/>
          </a:xfrm>
          <a:prstGeom prst="roundRect">
            <a:avLst>
              <a:gd name="adj" fmla="val 5386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defTabSz="913829">
              <a:defRPr/>
            </a:pP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○</a:t>
            </a:r>
            <a:r>
              <a:rPr kumimoji="0" lang="ja-JP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“</a:t>
            </a: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eading </a:t>
            </a:r>
            <a:r>
              <a:rPr kumimoji="0" lang="ja-JP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”先導的とは</a:t>
            </a:r>
          </a:p>
          <a:p>
            <a:pPr defTabSz="913829">
              <a:defRPr/>
            </a:pPr>
            <a:r>
              <a:rPr kumimoji="0" lang="ja-JP" altLang="en-US" sz="17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kumimoji="0" lang="ja-JP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当該設備・機器等に適用された要素技術に先導性が認められる。</a:t>
            </a:r>
          </a:p>
          <a:p>
            <a:pPr defTabSz="913829">
              <a:defRPr/>
            </a:pPr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・</a:t>
            </a:r>
            <a:r>
              <a:rPr kumimoji="0" lang="ja-JP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技術そのものに新規性は無いが、要素技術の組み合わせや適用方法に</a:t>
            </a:r>
            <a:endParaRPr kumimoji="0" lang="en-US" altLang="ja-JP" sz="19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913829">
              <a:defRPr/>
            </a:pPr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</a:t>
            </a:r>
            <a:r>
              <a:rPr kumimoji="0" lang="ja-JP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先導性が認められる。</a:t>
            </a:r>
          </a:p>
          <a:p>
            <a:pPr defTabSz="913829">
              <a:defRPr/>
            </a:pPr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・</a:t>
            </a:r>
            <a:r>
              <a:rPr kumimoji="0" lang="ja-JP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短期間で効率が飛躍的に向上している。</a:t>
            </a:r>
          </a:p>
          <a:p>
            <a:pPr defTabSz="913829">
              <a:defRPr/>
            </a:pPr>
            <a:r>
              <a:rPr kumimoji="0" lang="en-US" altLang="ja-JP" sz="17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 </a:t>
            </a:r>
            <a:endParaRPr kumimoji="0" lang="ja-JP" altLang="ja-JP" sz="17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913829">
              <a:defRPr/>
            </a:pP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○</a:t>
            </a:r>
            <a:r>
              <a:rPr kumimoji="0" lang="ja-JP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“</a:t>
            </a: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ow-carbon</a:t>
            </a:r>
            <a:r>
              <a:rPr kumimoji="0" lang="ja-JP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”低炭素技術とは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913829">
              <a:defRPr/>
            </a:pPr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kumimoji="0" lang="ja-JP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設備・機器等について、最高効率「</a:t>
            </a:r>
            <a:r>
              <a:rPr kumimoji="0" lang="en-US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準」を有する技術。</a:t>
            </a:r>
          </a:p>
        </p:txBody>
      </p:sp>
      <p:sp>
        <p:nvSpPr>
          <p:cNvPr id="12" name="タイトル 1"/>
          <p:cNvSpPr txBox="1">
            <a:spLocks/>
          </p:cNvSpPr>
          <p:nvPr/>
        </p:nvSpPr>
        <p:spPr bwMode="auto">
          <a:xfrm>
            <a:off x="-17635" y="2203"/>
            <a:ext cx="9912343" cy="53492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83" tIns="45691" rIns="91383" bIns="45691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defTabSz="913829"/>
            <a:r>
              <a:rPr lang="en-US" altLang="ja-JP" sz="2399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2399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とは</a:t>
            </a:r>
          </a:p>
        </p:txBody>
      </p:sp>
      <p:sp>
        <p:nvSpPr>
          <p:cNvPr id="13" name="スライド番号プレースホルダー"/>
          <p:cNvSpPr txBox="1">
            <a:spLocks/>
          </p:cNvSpPr>
          <p:nvPr/>
        </p:nvSpPr>
        <p:spPr>
          <a:xfrm>
            <a:off x="9363560" y="6523200"/>
            <a:ext cx="630000" cy="370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kumimoji="1" sz="2399" kern="1200">
                <a:solidFill>
                  <a:srgbClr val="898989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altLang="ja-JP" sz="1800" b="1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</a:t>
            </a:r>
            <a:endParaRPr lang="ja-JP" altLang="en-US" sz="18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971832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オブジェクト 7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777" y="3808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1" name="オブジェクト 7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777" y="3808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タイトル 42"/>
          <p:cNvSpPr>
            <a:spLocks noGrp="1"/>
          </p:cNvSpPr>
          <p:nvPr>
            <p:ph type="title"/>
          </p:nvPr>
        </p:nvSpPr>
        <p:spPr>
          <a:xfrm>
            <a:off x="130013" y="774690"/>
            <a:ext cx="9774403" cy="1286603"/>
          </a:xfrm>
        </p:spPr>
        <p:txBody>
          <a:bodyPr/>
          <a:lstStyle/>
          <a:p>
            <a:pPr algn="l"/>
            <a:r>
              <a:rPr lang="en-US" altLang="ja-JP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について紹介するとともに、「</a:t>
            </a:r>
            <a:r>
              <a:rPr lang="en-US" altLang="ja-JP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リスト」「</a:t>
            </a:r>
            <a:r>
              <a:rPr lang="en-US" altLang="ja-JP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準表」「</a:t>
            </a:r>
            <a:r>
              <a:rPr lang="en-US" altLang="ja-JP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認証製品一覧」についての情報や検索機能を備えたシステム。ユーザーの皆さまには設備導入・更新の際に、メーカーの皆さまには製品の</a:t>
            </a:r>
            <a:r>
              <a:rPr lang="en-US" altLang="ja-JP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</a:t>
            </a:r>
            <a:r>
              <a:rPr lang="ja-JP" altLang="en-US" sz="1999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ツールとして御活用いただける内容となっている。</a:t>
            </a:r>
          </a:p>
        </p:txBody>
      </p:sp>
      <p:sp>
        <p:nvSpPr>
          <p:cNvPr id="28" name="タイトル 1"/>
          <p:cNvSpPr txBox="1">
            <a:spLocks/>
          </p:cNvSpPr>
          <p:nvPr/>
        </p:nvSpPr>
        <p:spPr bwMode="auto">
          <a:xfrm>
            <a:off x="13150" y="2207"/>
            <a:ext cx="9912343" cy="53492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83" tIns="45691" rIns="91383" bIns="45691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defTabSz="913829"/>
            <a:r>
              <a:rPr lang="en-US" altLang="ja-JP" sz="2399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2399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情報プラットフォーム</a:t>
            </a:r>
          </a:p>
        </p:txBody>
      </p:sp>
      <p:sp>
        <p:nvSpPr>
          <p:cNvPr id="26" name="タイトル 42"/>
          <p:cNvSpPr txBox="1">
            <a:spLocks/>
          </p:cNvSpPr>
          <p:nvPr/>
        </p:nvSpPr>
        <p:spPr bwMode="gray">
          <a:xfrm>
            <a:off x="13149" y="2008695"/>
            <a:ext cx="9899651" cy="1683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3" tIns="45691" rIns="91383" bIns="45691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9pPr>
          </a:lstStyle>
          <a:p>
            <a:pPr defTabSz="913829">
              <a:lnSpc>
                <a:spcPct val="150000"/>
              </a:lnSpc>
            </a:pPr>
            <a:r>
              <a:rPr lang="en-US" altLang="ja-JP" sz="3199" b="1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3199" b="1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情報プラットフォーム</a:t>
            </a:r>
            <a:r>
              <a:rPr lang="en-US" altLang="ja-JP" sz="3199" b="1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URL</a:t>
            </a:r>
          </a:p>
          <a:p>
            <a:pPr defTabSz="913829">
              <a:lnSpc>
                <a:spcPct val="150000"/>
              </a:lnSpc>
            </a:pPr>
            <a:r>
              <a:rPr lang="en-US" altLang="ja-JP" sz="3199" b="1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http://l2-tech.force.com/</a:t>
            </a:r>
            <a:r>
              <a:rPr lang="ja-JP" altLang="en-US" sz="3199" b="1" dirty="0">
                <a:solidFill>
                  <a:srgbClr val="00206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</a:t>
            </a: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 rotWithShape="1">
          <a:blip r:embed="rId7"/>
          <a:srcRect t="36953"/>
          <a:stretch/>
        </p:blipFill>
        <p:spPr>
          <a:xfrm>
            <a:off x="948968" y="3671350"/>
            <a:ext cx="8072024" cy="3069367"/>
          </a:xfrm>
          <a:prstGeom prst="rect">
            <a:avLst/>
          </a:prstGeom>
        </p:spPr>
      </p:pic>
      <p:sp>
        <p:nvSpPr>
          <p:cNvPr id="10" name="スライド番号プレースホルダー"/>
          <p:cNvSpPr txBox="1">
            <a:spLocks/>
          </p:cNvSpPr>
          <p:nvPr/>
        </p:nvSpPr>
        <p:spPr>
          <a:xfrm>
            <a:off x="9363560" y="6523200"/>
            <a:ext cx="630000" cy="370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kumimoji="1" sz="2399" kern="1200">
                <a:solidFill>
                  <a:srgbClr val="898989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altLang="ja-JP" sz="1800" b="1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</a:t>
            </a:r>
            <a:endParaRPr lang="ja-JP" altLang="en-US" sz="18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32141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角丸四角形 31"/>
          <p:cNvSpPr/>
          <p:nvPr/>
        </p:nvSpPr>
        <p:spPr>
          <a:xfrm>
            <a:off x="6990208" y="5641827"/>
            <a:ext cx="2483523" cy="7556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普及促進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0" name="下矢印 29"/>
          <p:cNvSpPr/>
          <p:nvPr/>
        </p:nvSpPr>
        <p:spPr>
          <a:xfrm>
            <a:off x="7149583" y="2083946"/>
            <a:ext cx="1371791" cy="3491115"/>
          </a:xfrm>
          <a:prstGeom prst="downArrow">
            <a:avLst>
              <a:gd name="adj1" fmla="val 50000"/>
              <a:gd name="adj2" fmla="val 3238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grpSp>
        <p:nvGrpSpPr>
          <p:cNvPr id="28" name="グループ化 27"/>
          <p:cNvGrpSpPr/>
          <p:nvPr/>
        </p:nvGrpSpPr>
        <p:grpSpPr>
          <a:xfrm>
            <a:off x="347441" y="2133687"/>
            <a:ext cx="443808" cy="3885940"/>
            <a:chOff x="344488" y="2132856"/>
            <a:chExt cx="444092" cy="3888432"/>
          </a:xfrm>
        </p:grpSpPr>
        <p:sp>
          <p:nvSpPr>
            <p:cNvPr id="27" name="正方形/長方形 26"/>
            <p:cNvSpPr/>
            <p:nvPr/>
          </p:nvSpPr>
          <p:spPr>
            <a:xfrm>
              <a:off x="344488" y="5909569"/>
              <a:ext cx="444092" cy="111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829"/>
              <a:endParaRPr kumimoji="0" lang="ja-JP" altLang="en-US" sz="1600" kern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6" name="曲折矢印 25"/>
            <p:cNvSpPr/>
            <p:nvPr/>
          </p:nvSpPr>
          <p:spPr>
            <a:xfrm>
              <a:off x="344488" y="2132856"/>
              <a:ext cx="383788" cy="3776713"/>
            </a:xfrm>
            <a:prstGeom prst="bentArrow">
              <a:avLst>
                <a:gd name="adj1" fmla="val 25000"/>
                <a:gd name="adj2" fmla="val 50000"/>
                <a:gd name="adj3" fmla="val 50000"/>
                <a:gd name="adj4" fmla="val 2671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829"/>
              <a:endParaRPr kumimoji="0" lang="ja-JP" altLang="en-US" sz="1600" ker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</p:grpSp>
      <p:sp>
        <p:nvSpPr>
          <p:cNvPr id="22" name="下矢印 21"/>
          <p:cNvSpPr/>
          <p:nvPr/>
        </p:nvSpPr>
        <p:spPr>
          <a:xfrm>
            <a:off x="2750747" y="2039070"/>
            <a:ext cx="1371791" cy="3868915"/>
          </a:xfrm>
          <a:prstGeom prst="downArrow">
            <a:avLst>
              <a:gd name="adj1" fmla="val 50000"/>
              <a:gd name="adj2" fmla="val 3238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" name="AutoShape 2"/>
          <p:cNvSpPr>
            <a:spLocks noChangeArrowheads="1"/>
          </p:cNvSpPr>
          <p:nvPr/>
        </p:nvSpPr>
        <p:spPr bwMode="auto">
          <a:xfrm>
            <a:off x="240105" y="982299"/>
            <a:ext cx="9427003" cy="3742016"/>
          </a:xfrm>
          <a:prstGeom prst="roundRect">
            <a:avLst>
              <a:gd name="adj" fmla="val 13014"/>
            </a:avLst>
          </a:prstGeom>
          <a:noFill/>
          <a:ln w="19050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4247" tIns="8884" rIns="74247" bIns="8884" numCol="1" anchor="t" anchorCtr="0" compatLnSpc="1">
            <a:prstTxWarp prst="textNoShape">
              <a:avLst/>
            </a:prstTxWarp>
          </a:bodyPr>
          <a:lstStyle/>
          <a:p>
            <a:pPr algn="just" defTabSz="913829"/>
            <a:r>
              <a:rPr kumimoji="0" lang="ja-JP" altLang="en-US" sz="17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endParaRPr kumimoji="0" lang="en-US" altLang="ja-JP" sz="17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7" name="タイトル 1"/>
          <p:cNvSpPr txBox="1">
            <a:spLocks/>
          </p:cNvSpPr>
          <p:nvPr/>
        </p:nvSpPr>
        <p:spPr bwMode="auto">
          <a:xfrm>
            <a:off x="-9514" y="2203"/>
            <a:ext cx="9912343" cy="53492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83" tIns="45691" rIns="91383" bIns="45691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defTabSz="913829"/>
            <a:r>
              <a:rPr lang="en-US" altLang="ja-JP" sz="2399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lang="ja-JP" altLang="en-US" sz="2399" b="1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取組</a:t>
            </a:r>
          </a:p>
        </p:txBody>
      </p:sp>
      <p:sp>
        <p:nvSpPr>
          <p:cNvPr id="9" name="角丸四角形 8"/>
          <p:cNvSpPr/>
          <p:nvPr/>
        </p:nvSpPr>
        <p:spPr>
          <a:xfrm>
            <a:off x="791256" y="1839140"/>
            <a:ext cx="8659967" cy="935504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en-US" altLang="ja-JP" sz="3199" kern="0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3199" kern="0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リスト、水準表、認証製品一覧</a:t>
            </a:r>
          </a:p>
        </p:txBody>
      </p:sp>
      <p:sp>
        <p:nvSpPr>
          <p:cNvPr id="10" name="角丸四角形 9"/>
          <p:cNvSpPr/>
          <p:nvPr/>
        </p:nvSpPr>
        <p:spPr>
          <a:xfrm>
            <a:off x="796245" y="2997235"/>
            <a:ext cx="5288048" cy="1151391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30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</a:t>
            </a: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6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％削減、</a:t>
            </a: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50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</a:t>
            </a:r>
            <a:r>
              <a:rPr kumimoji="0" lang="en-US" altLang="ja-JP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80</a:t>
            </a:r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％削減に資する技術のリスト化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" name="角丸四角形 10"/>
          <p:cNvSpPr/>
          <p:nvPr/>
        </p:nvSpPr>
        <p:spPr>
          <a:xfrm>
            <a:off x="809076" y="4380111"/>
            <a:ext cx="5275216" cy="78937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環境省内ツールとして活用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" name="角丸四角形 11"/>
          <p:cNvSpPr/>
          <p:nvPr/>
        </p:nvSpPr>
        <p:spPr>
          <a:xfrm>
            <a:off x="730985" y="5581156"/>
            <a:ext cx="1858972" cy="7556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技術開発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" name="角丸四角形 12"/>
          <p:cNvSpPr/>
          <p:nvPr/>
        </p:nvSpPr>
        <p:spPr>
          <a:xfrm>
            <a:off x="4283319" y="5575055"/>
            <a:ext cx="1858972" cy="755600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補助事業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4" name="角丸四角形 13"/>
          <p:cNvSpPr/>
          <p:nvPr/>
        </p:nvSpPr>
        <p:spPr>
          <a:xfrm>
            <a:off x="806926" y="745600"/>
            <a:ext cx="3454169" cy="67882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en-US" altLang="ja-JP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2-Tech</a:t>
            </a:r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導入実証事業</a:t>
            </a:r>
            <a:endParaRPr kumimoji="0" lang="en-US" altLang="ja-JP" sz="19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5" name="角丸四角形 14"/>
          <p:cNvSpPr/>
          <p:nvPr/>
        </p:nvSpPr>
        <p:spPr>
          <a:xfrm>
            <a:off x="7951065" y="715151"/>
            <a:ext cx="1439237" cy="67882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メーカー</a:t>
            </a:r>
            <a:endParaRPr kumimoji="0" lang="en-US" altLang="ja-JP" sz="19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6" name="角丸四角形 15"/>
          <p:cNvSpPr/>
          <p:nvPr/>
        </p:nvSpPr>
        <p:spPr>
          <a:xfrm>
            <a:off x="6162645" y="745600"/>
            <a:ext cx="1655123" cy="67882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政府計画</a:t>
            </a:r>
            <a:endParaRPr kumimoji="0" lang="en-US" altLang="ja-JP" sz="19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7" name="角丸四角形 16"/>
          <p:cNvSpPr/>
          <p:nvPr/>
        </p:nvSpPr>
        <p:spPr>
          <a:xfrm>
            <a:off x="4385249" y="733643"/>
            <a:ext cx="1655123" cy="678823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19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技術開発</a:t>
            </a:r>
            <a:endParaRPr kumimoji="0" lang="en-US" altLang="ja-JP" sz="19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8" name="フローチャート: 組合せ 17"/>
          <p:cNvSpPr/>
          <p:nvPr/>
        </p:nvSpPr>
        <p:spPr>
          <a:xfrm>
            <a:off x="1994291" y="1480941"/>
            <a:ext cx="1079428" cy="281148"/>
          </a:xfrm>
          <a:prstGeom prst="flowChartMerg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9" name="フローチャート: 組合せ 18"/>
          <p:cNvSpPr/>
          <p:nvPr/>
        </p:nvSpPr>
        <p:spPr>
          <a:xfrm>
            <a:off x="4673091" y="1467075"/>
            <a:ext cx="1079428" cy="281148"/>
          </a:xfrm>
          <a:prstGeom prst="flowChartMerg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0" name="フローチャート: 組合せ 19"/>
          <p:cNvSpPr/>
          <p:nvPr/>
        </p:nvSpPr>
        <p:spPr>
          <a:xfrm>
            <a:off x="6450487" y="1458269"/>
            <a:ext cx="1079428" cy="298771"/>
          </a:xfrm>
          <a:prstGeom prst="flowChartMerg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1" name="フローチャート: 組合せ 20"/>
          <p:cNvSpPr/>
          <p:nvPr/>
        </p:nvSpPr>
        <p:spPr>
          <a:xfrm>
            <a:off x="8134699" y="1481292"/>
            <a:ext cx="1079428" cy="298771"/>
          </a:xfrm>
          <a:prstGeom prst="flowChartMerg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3" name="楕円 22"/>
          <p:cNvSpPr/>
          <p:nvPr/>
        </p:nvSpPr>
        <p:spPr>
          <a:xfrm>
            <a:off x="2269366" y="5952855"/>
            <a:ext cx="2354643" cy="79158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政策立案</a:t>
            </a:r>
          </a:p>
        </p:txBody>
      </p:sp>
      <p:sp>
        <p:nvSpPr>
          <p:cNvPr id="24" name="角丸四角形 23"/>
          <p:cNvSpPr/>
          <p:nvPr/>
        </p:nvSpPr>
        <p:spPr>
          <a:xfrm>
            <a:off x="9309226" y="736415"/>
            <a:ext cx="1258603" cy="561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3829"/>
            <a:r>
              <a:rPr kumimoji="0" lang="ja-JP" altLang="en-US" sz="1200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・・</a:t>
            </a:r>
            <a:endParaRPr kumimoji="0" lang="en-US" altLang="ja-JP" sz="1200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9" name="角丸四角形 28"/>
          <p:cNvSpPr/>
          <p:nvPr/>
        </p:nvSpPr>
        <p:spPr>
          <a:xfrm>
            <a:off x="6280656" y="3020532"/>
            <a:ext cx="3109647" cy="84024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情報発信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1" name="角丸四角形 30"/>
          <p:cNvSpPr/>
          <p:nvPr/>
        </p:nvSpPr>
        <p:spPr>
          <a:xfrm>
            <a:off x="6280659" y="4023167"/>
            <a:ext cx="3242767" cy="99466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r>
              <a:rPr kumimoji="0" lang="ja-JP" altLang="en-US" sz="2399" kern="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メーカー・ユーザー等への認知度拡大</a:t>
            </a:r>
            <a:endParaRPr kumimoji="0" lang="en-US" altLang="ja-JP" sz="2399" kern="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3" name="フローチャート: 組合せ 32"/>
          <p:cNvSpPr/>
          <p:nvPr/>
        </p:nvSpPr>
        <p:spPr>
          <a:xfrm rot="16200000">
            <a:off x="6210515" y="5645202"/>
            <a:ext cx="755600" cy="615319"/>
          </a:xfrm>
          <a:prstGeom prst="flowChartMerg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829"/>
            <a:endParaRPr kumimoji="0" lang="ja-JP" altLang="en-US" sz="1600" kern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6" name="スライド番号プレースホルダー"/>
          <p:cNvSpPr txBox="1">
            <a:spLocks/>
          </p:cNvSpPr>
          <p:nvPr/>
        </p:nvSpPr>
        <p:spPr>
          <a:xfrm>
            <a:off x="9363560" y="6523200"/>
            <a:ext cx="630000" cy="370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kumimoji="1" sz="2399" kern="1200">
                <a:solidFill>
                  <a:srgbClr val="898989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kern="12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9pPr>
          </a:lstStyle>
          <a:p>
            <a:pPr algn="ctr">
              <a:defRPr/>
            </a:pPr>
            <a:r>
              <a:rPr lang="en-US" altLang="ja-JP" sz="1800" b="1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</a:t>
            </a:r>
            <a:endParaRPr lang="ja-JP" altLang="en-US" sz="1800" b="1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0333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46</Words>
  <Application>Microsoft Office PowerPoint</Application>
  <PresentationFormat>A4 210 x 297 mm</PresentationFormat>
  <Paragraphs>63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3" baseType="lpstr">
      <vt:lpstr>ＭＳ Ｐゴシック</vt:lpstr>
      <vt:lpstr>メイリオ</vt:lpstr>
      <vt:lpstr>游ゴシック</vt:lpstr>
      <vt:lpstr>游ゴシック Light</vt:lpstr>
      <vt:lpstr>Arial</vt:lpstr>
      <vt:lpstr>Calibri</vt:lpstr>
      <vt:lpstr>Wingdings</vt:lpstr>
      <vt:lpstr>Office テーマ</vt:lpstr>
      <vt:lpstr>think-cell Slide</vt:lpstr>
      <vt:lpstr>PowerPoint プレゼンテーション</vt:lpstr>
      <vt:lpstr>PowerPoint プレゼンテーション</vt:lpstr>
      <vt:lpstr>L2-Techについて紹介するとともに、「L2-Techリスト」「L2-Tech水準表」「L2-Tech認証製品一覧」についての情報や検索機能を備えたシステム。ユーザーの皆さまには設備導入・更新の際に、メーカーの皆さまには製品のPRのツールとして御活用いただける内容となっている。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曽根 拓人</dc:creator>
  <cp:lastModifiedBy>稲 佳奈／リサーチ・コンサル／JRI (ina kana)</cp:lastModifiedBy>
  <cp:revision>2</cp:revision>
  <dcterms:created xsi:type="dcterms:W3CDTF">2018-04-13T07:05:35Z</dcterms:created>
  <dcterms:modified xsi:type="dcterms:W3CDTF">2018-05-15T02:17:11Z</dcterms:modified>
</cp:coreProperties>
</file>